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95" r:id="rId1"/>
    <p:sldMasterId id="2147484012" r:id="rId2"/>
  </p:sldMasterIdLst>
  <p:notesMasterIdLst>
    <p:notesMasterId r:id="rId30"/>
  </p:notesMasterIdLst>
  <p:handoutMasterIdLst>
    <p:handoutMasterId r:id="rId31"/>
  </p:handoutMasterIdLst>
  <p:sldIdLst>
    <p:sldId id="259" r:id="rId3"/>
    <p:sldId id="743" r:id="rId4"/>
    <p:sldId id="744" r:id="rId5"/>
    <p:sldId id="752" r:id="rId6"/>
    <p:sldId id="745" r:id="rId7"/>
    <p:sldId id="747" r:id="rId8"/>
    <p:sldId id="749" r:id="rId9"/>
    <p:sldId id="753" r:id="rId10"/>
    <p:sldId id="750" r:id="rId11"/>
    <p:sldId id="754" r:id="rId12"/>
    <p:sldId id="746" r:id="rId13"/>
    <p:sldId id="526" r:id="rId14"/>
    <p:sldId id="566" r:id="rId15"/>
    <p:sldId id="738" r:id="rId16"/>
    <p:sldId id="717" r:id="rId17"/>
    <p:sldId id="718" r:id="rId18"/>
    <p:sldId id="719" r:id="rId19"/>
    <p:sldId id="716" r:id="rId20"/>
    <p:sldId id="740" r:id="rId21"/>
    <p:sldId id="721" r:id="rId22"/>
    <p:sldId id="720" r:id="rId23"/>
    <p:sldId id="732" r:id="rId24"/>
    <p:sldId id="733" r:id="rId25"/>
    <p:sldId id="741" r:id="rId26"/>
    <p:sldId id="734" r:id="rId27"/>
    <p:sldId id="735" r:id="rId28"/>
    <p:sldId id="737" r:id="rId29"/>
  </p:sldIdLst>
  <p:sldSz cx="9144000" cy="6858000" type="screen4x3"/>
  <p:notesSz cx="6858000" cy="9947275"/>
  <p:custDataLst>
    <p:tags r:id="rId32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B4A83"/>
    <a:srgbClr val="FEFEFE"/>
    <a:srgbClr val="0054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98" autoAdjust="0"/>
    <p:restoredTop sz="89429" autoAdjust="0"/>
  </p:normalViewPr>
  <p:slideViewPr>
    <p:cSldViewPr>
      <p:cViewPr varScale="1">
        <p:scale>
          <a:sx n="117" d="100"/>
          <a:sy n="117" d="100"/>
        </p:scale>
        <p:origin x="-1584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4026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2592" tIns="46296" rIns="92592" bIns="4629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2592" tIns="46296" rIns="92592" bIns="46296" rtlCol="0"/>
          <a:lstStyle>
            <a:lvl1pPr algn="r">
              <a:defRPr sz="1200"/>
            </a:lvl1pPr>
          </a:lstStyle>
          <a:p>
            <a:fld id="{B7868530-66D1-4D8E-A567-F0E65A3C525F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8184"/>
            <a:ext cx="2971800" cy="497364"/>
          </a:xfrm>
          <a:prstGeom prst="rect">
            <a:avLst/>
          </a:prstGeom>
        </p:spPr>
        <p:txBody>
          <a:bodyPr vert="horz" lIns="92592" tIns="46296" rIns="92592" bIns="4629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9448184"/>
            <a:ext cx="2971800" cy="497364"/>
          </a:xfrm>
          <a:prstGeom prst="rect">
            <a:avLst/>
          </a:prstGeom>
        </p:spPr>
        <p:txBody>
          <a:bodyPr vert="horz" lIns="92592" tIns="46296" rIns="92592" bIns="46296" rtlCol="0" anchor="b"/>
          <a:lstStyle>
            <a:lvl1pPr algn="r">
              <a:defRPr sz="1200"/>
            </a:lvl1pPr>
          </a:lstStyle>
          <a:p>
            <a:fld id="{9AF19F24-311E-4E91-86AC-2F88A5C5BB4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39441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97364"/>
          </a:xfrm>
          <a:prstGeom prst="rect">
            <a:avLst/>
          </a:prstGeom>
        </p:spPr>
        <p:txBody>
          <a:bodyPr vert="horz" lIns="92592" tIns="46296" rIns="92592" bIns="46296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97364"/>
          </a:xfrm>
          <a:prstGeom prst="rect">
            <a:avLst/>
          </a:prstGeom>
        </p:spPr>
        <p:txBody>
          <a:bodyPr vert="horz" lIns="92592" tIns="46296" rIns="92592" bIns="46296" rtlCol="0"/>
          <a:lstStyle>
            <a:lvl1pPr algn="r">
              <a:defRPr sz="1200"/>
            </a:lvl1pPr>
          </a:lstStyle>
          <a:p>
            <a:fld id="{258B6F53-01B2-4B70-BABB-EA414226F932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1388" y="746125"/>
            <a:ext cx="4975225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592" tIns="46296" rIns="92592" bIns="4629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724956"/>
            <a:ext cx="5486400" cy="4476274"/>
          </a:xfrm>
          <a:prstGeom prst="rect">
            <a:avLst/>
          </a:prstGeom>
        </p:spPr>
        <p:txBody>
          <a:bodyPr vert="horz" lIns="92592" tIns="46296" rIns="92592" bIns="46296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4"/>
            <a:ext cx="2971800" cy="497364"/>
          </a:xfrm>
          <a:prstGeom prst="rect">
            <a:avLst/>
          </a:prstGeom>
        </p:spPr>
        <p:txBody>
          <a:bodyPr vert="horz" lIns="92592" tIns="46296" rIns="92592" bIns="46296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9448184"/>
            <a:ext cx="2971800" cy="497364"/>
          </a:xfrm>
          <a:prstGeom prst="rect">
            <a:avLst/>
          </a:prstGeom>
        </p:spPr>
        <p:txBody>
          <a:bodyPr vert="horz" lIns="92592" tIns="46296" rIns="92592" bIns="46296" rtlCol="0" anchor="b"/>
          <a:lstStyle>
            <a:lvl1pPr algn="r">
              <a:defRPr sz="1200"/>
            </a:lvl1pPr>
          </a:lstStyle>
          <a:p>
            <a:fld id="{6654C537-E83D-4D0A-A62E-1AA4367E2EE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3075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511162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76522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11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95601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68497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846899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10482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51880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25341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361541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555404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110466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2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28311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411044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3101779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550972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612653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088068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945366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747573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54920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12519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7140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5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3307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6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86023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7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4511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8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9115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654C537-E83D-4D0A-A62E-1AA4367E2EEF}" type="slidenum">
              <a:rPr lang="ru-RU" smtClean="0">
                <a:solidFill>
                  <a:prstClr val="black"/>
                </a:solidFill>
              </a:rPr>
              <a:pPr/>
              <a:t>9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6423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7851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81086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46631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Заголовок раздела">
    <p:bg>
      <p:bgPr>
        <a:blipFill dpi="0" rotWithShape="1">
          <a:blip r:embed="rId2" cstate="print"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 userDrawn="1"/>
        </p:nvSpPr>
        <p:spPr>
          <a:xfrm>
            <a:off x="6444208" y="404664"/>
            <a:ext cx="237626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600" baseline="0" dirty="0" smtClean="0">
                <a:solidFill>
                  <a:srgbClr val="FF0000"/>
                </a:solidFill>
                <a:effectLst/>
                <a:latin typeface="Monotype Corsiva" pitchFamily="66" charset="0"/>
              </a:rPr>
              <a:t>ВСС</a:t>
            </a:r>
            <a:endParaRPr lang="ru-RU" sz="3600" baseline="0" dirty="0">
              <a:solidFill>
                <a:srgbClr val="FF0000"/>
              </a:solidFill>
              <a:effectLst/>
            </a:endParaRPr>
          </a:p>
        </p:txBody>
      </p:sp>
      <p:sp>
        <p:nvSpPr>
          <p:cNvPr id="5" name="Freeform 8"/>
          <p:cNvSpPr>
            <a:spLocks/>
          </p:cNvSpPr>
          <p:nvPr userDrawn="1"/>
        </p:nvSpPr>
        <p:spPr bwMode="auto">
          <a:xfrm>
            <a:off x="0" y="0"/>
            <a:ext cx="3275856" cy="3068960"/>
          </a:xfrm>
          <a:custGeom>
            <a:avLst/>
            <a:gdLst>
              <a:gd name="T0" fmla="*/ 0 w 2322"/>
              <a:gd name="T1" fmla="*/ 2147483647 h 2304"/>
              <a:gd name="T2" fmla="*/ 2147483647 w 2322"/>
              <a:gd name="T3" fmla="*/ 2147483647 h 2304"/>
              <a:gd name="T4" fmla="*/ 2147483647 w 2322"/>
              <a:gd name="T5" fmla="*/ 2147483647 h 2304"/>
              <a:gd name="T6" fmla="*/ 2147483647 w 2322"/>
              <a:gd name="T7" fmla="*/ 0 h 2304"/>
              <a:gd name="T8" fmla="*/ 0 w 2322"/>
              <a:gd name="T9" fmla="*/ 0 h 2304"/>
              <a:gd name="T10" fmla="*/ 0 w 2322"/>
              <a:gd name="T11" fmla="*/ 2147483647 h 2304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322"/>
              <a:gd name="T19" fmla="*/ 0 h 2304"/>
              <a:gd name="T20" fmla="*/ 2322 w 2322"/>
              <a:gd name="T21" fmla="*/ 2304 h 2304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322" h="2304">
                <a:moveTo>
                  <a:pt x="0" y="2304"/>
                </a:moveTo>
                <a:lnTo>
                  <a:pt x="2010" y="2304"/>
                </a:lnTo>
                <a:lnTo>
                  <a:pt x="2322" y="1992"/>
                </a:lnTo>
                <a:lnTo>
                  <a:pt x="2322" y="0"/>
                </a:lnTo>
                <a:lnTo>
                  <a:pt x="0" y="0"/>
                </a:lnTo>
                <a:lnTo>
                  <a:pt x="0" y="2304"/>
                </a:lnTo>
                <a:close/>
              </a:path>
            </a:pathLst>
          </a:custGeom>
          <a:solidFill>
            <a:srgbClr val="2B4A83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r>
              <a:rPr lang="ru-RU" sz="2400" b="1" kern="1200" dirty="0" smtClean="0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Участие страховщиков</a:t>
            </a:r>
          </a:p>
          <a:p>
            <a:r>
              <a:rPr lang="ru-RU" sz="2400" b="1" kern="1200" dirty="0" smtClean="0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 жизни в ИПК</a:t>
            </a:r>
          </a:p>
          <a:p>
            <a:endParaRPr lang="ru-RU" sz="2400" b="1" kern="1200" dirty="0" smtClean="0">
              <a:solidFill>
                <a:schemeClr val="bg1"/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  <a:p>
            <a:r>
              <a:rPr lang="ru-RU" sz="2000" b="1" kern="1200" dirty="0" smtClean="0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М. Данилов,</a:t>
            </a:r>
          </a:p>
          <a:p>
            <a:r>
              <a:rPr lang="ru-RU" sz="2000" b="1" kern="1200" dirty="0" smtClean="0">
                <a:solidFill>
                  <a:schemeClr val="bg1"/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t>Вице президент ВСС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200" b="1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36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олько заголовок">
    <p:bg>
      <p:bgPr>
        <a:blipFill dpi="0" rotWithShape="1">
          <a:blip r:embed="rId2" cstate="print">
            <a:lum/>
          </a:blip>
          <a:srcRect/>
          <a:stretch>
            <a:fillRect l="-10000" r="-10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51701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759598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0937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044220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332656"/>
            <a:ext cx="8229600" cy="63408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2800" b="1" kern="1200" dirty="0">
                <a:solidFill>
                  <a:srgbClr val="2B4A83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26278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86888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227801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67123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70673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81995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8893632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3639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74469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982018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7919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086435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17235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3069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245050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7158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859021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9035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99617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13730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18EF922-3012-4A75-A198-0641B3D6D33C}" type="datetimeFigureOut">
              <a:rPr lang="ru-RU" smtClean="0"/>
              <a:pPr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EBB92E-6284-4C69-9085-EB056464C162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>
            <p:custDataLst>
              <p:tags r:id="rId19"/>
            </p:custDataLst>
          </p:nvPr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585"/>
          <a:stretch/>
        </p:blipFill>
        <p:spPr>
          <a:xfrm>
            <a:off x="0" y="5937748"/>
            <a:ext cx="9155200" cy="938136"/>
          </a:xfrm>
          <a:prstGeom prst="rect">
            <a:avLst/>
          </a:prstGeom>
        </p:spPr>
      </p:pic>
      <p:sp>
        <p:nvSpPr>
          <p:cNvPr id="8" name="Rectangle 14"/>
          <p:cNvSpPr>
            <a:spLocks noChangeArrowheads="1"/>
          </p:cNvSpPr>
          <p:nvPr userDrawn="1">
            <p:custDataLst>
              <p:tags r:id="rId20"/>
            </p:custDataLst>
          </p:nvPr>
        </p:nvSpPr>
        <p:spPr bwMode="auto">
          <a:xfrm flipV="1">
            <a:off x="0" y="5877272"/>
            <a:ext cx="9144000" cy="127308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20000"/>
              </a:spcBef>
              <a:defRPr/>
            </a:pPr>
            <a:endParaRPr lang="ru-RU"/>
          </a:p>
        </p:txBody>
      </p:sp>
      <p:sp>
        <p:nvSpPr>
          <p:cNvPr id="9" name="Номер слайда 5"/>
          <p:cNvSpPr txBox="1">
            <a:spLocks/>
          </p:cNvSpPr>
          <p:nvPr userDrawn="1">
            <p:custDataLst>
              <p:tags r:id="rId21"/>
            </p:custDataLst>
          </p:nvPr>
        </p:nvSpPr>
        <p:spPr>
          <a:xfrm>
            <a:off x="8604448" y="6525344"/>
            <a:ext cx="475902" cy="184666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lang="ru-RU" sz="9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0938BDD-5FC8-4BDB-BE5A-632D99BEE600}" type="slidenum">
              <a:rPr lang="ru-RU" sz="900" b="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Segoe UI" pitchFamily="34" charset="0"/>
                <a:cs typeface="Arial" pitchFamily="34" charset="0"/>
              </a:rPr>
              <a:pPr algn="ctr"/>
              <a:t>‹#›</a:t>
            </a:fld>
            <a:endParaRPr lang="ru-RU" sz="900" b="0" kern="1200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Segoe UI" pitchFamily="34" charset="0"/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7956376" y="188640"/>
            <a:ext cx="100811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aseline="0" dirty="0" smtClean="0">
                <a:solidFill>
                  <a:srgbClr val="FF0000"/>
                </a:solidFill>
                <a:effectLst/>
                <a:latin typeface="Monotype Corsiva" pitchFamily="66" charset="0"/>
              </a:rPr>
              <a:t>ВСС</a:t>
            </a:r>
            <a:endParaRPr lang="ru-RU" sz="3200" baseline="0" dirty="0">
              <a:solidFill>
                <a:srgbClr val="FF0000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1547219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  <p:sldLayoutId id="2147483909" r:id="rId13"/>
    <p:sldLayoutId id="2147484009" r:id="rId14"/>
    <p:sldLayoutId id="2147484010" r:id="rId15"/>
    <p:sldLayoutId id="2147484011" r:id="rId16"/>
    <p:sldLayoutId id="2147483911" r:id="rId17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1B51EC-00C6-4E7D-8E5A-2BFBF7312EDD}" type="datetimeFigureOut">
              <a:rPr lang="ru-RU" smtClean="0"/>
              <a:t>06.1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BDC6D1-346B-4E7A-B559-37A3638FA0C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9740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5" r:id="rId3"/>
    <p:sldLayoutId id="2147484016" r:id="rId4"/>
    <p:sldLayoutId id="2147484017" r:id="rId5"/>
    <p:sldLayoutId id="2147484018" r:id="rId6"/>
    <p:sldLayoutId id="2147484019" r:id="rId7"/>
    <p:sldLayoutId id="2147484020" r:id="rId8"/>
    <p:sldLayoutId id="2147484021" r:id="rId9"/>
    <p:sldLayoutId id="2147484022" r:id="rId10"/>
    <p:sldLayoutId id="214748402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164288" y="476672"/>
            <a:ext cx="1008112" cy="432048"/>
          </a:xfrm>
          <a:prstGeom prst="rect">
            <a:avLst/>
          </a:prstGeom>
          <a:solidFill>
            <a:srgbClr val="FEFEFE"/>
          </a:solidFill>
          <a:ln>
            <a:solidFill>
              <a:srgbClr val="FEFEF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450" y="0"/>
            <a:ext cx="3131390" cy="2636912"/>
          </a:xfrm>
          <a:prstGeom prst="rect">
            <a:avLst/>
          </a:prstGeom>
          <a:solidFill>
            <a:srgbClr val="2B4A83"/>
          </a:solidFill>
          <a:ln>
            <a:solidFill>
              <a:srgbClr val="2B4A8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400" dirty="0" smtClean="0"/>
          </a:p>
          <a:p>
            <a:endParaRPr lang="en-US" sz="2400" dirty="0"/>
          </a:p>
          <a:p>
            <a:endParaRPr lang="en-US" sz="2400" dirty="0" smtClean="0"/>
          </a:p>
          <a:p>
            <a:endParaRPr lang="en-US" sz="2400" dirty="0"/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Участие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траховщиков жизни в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ПК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анило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М.В. </a:t>
            </a:r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иц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езидент ВСС</a:t>
            </a:r>
          </a:p>
        </p:txBody>
      </p:sp>
    </p:spTree>
    <p:extLst>
      <p:ext uri="{BB962C8B-B14F-4D97-AF65-F5344CB8AC3E}">
        <p14:creationId xmlns:p14="http://schemas.microsoft.com/office/powerpoint/2010/main" val="3632452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60015"/>
            <a:ext cx="8686800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Узкий круг провайдеров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8820472" cy="4824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оответствии с концепцией ИПК – только НПФ,</a:t>
            </a:r>
            <a:r>
              <a:rPr lang="en-GB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крайней мере на этапе накопления; </a:t>
            </a:r>
          </a:p>
          <a:p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ает конкуренцию со всеми вытекающими последствиями;</a:t>
            </a:r>
          </a:p>
          <a:p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ционерные НПФ не имеют ни очевидных преимуществ, ни принципиальных отличий от компаний по страхованию жизни</a:t>
            </a: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</a:p>
          <a:p>
            <a:pPr marL="457200" lvl="1" indent="0">
              <a:lnSpc>
                <a:spcPct val="150000"/>
              </a:lnSpc>
              <a:buFont typeface="Arial" pitchFamily="34" charset="0"/>
              <a:buNone/>
            </a:pPr>
            <a:r>
              <a:rPr lang="ru-RU" sz="2400" dirty="0" smtClean="0">
                <a:solidFill>
                  <a:prstClr val="black"/>
                </a:solidFill>
              </a:rPr>
              <a:t> </a:t>
            </a:r>
          </a:p>
          <a:p>
            <a:pPr marL="457200" lvl="1" indent="0">
              <a:lnSpc>
                <a:spcPct val="150000"/>
              </a:lnSpc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	</a:t>
            </a:r>
            <a:endParaRPr lang="ru-RU" sz="20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 marL="0" indent="0">
              <a:lnSpc>
                <a:spcPct val="150000"/>
              </a:lnSpc>
              <a:buFont typeface="Arial" pitchFamily="34" charset="0"/>
              <a:buNone/>
            </a:pPr>
            <a:endParaRPr lang="ru-RU" sz="20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 lvl="1"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lnSpc>
                <a:spcPct val="150000"/>
              </a:lnSpc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2766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36538"/>
            <a:ext cx="8686800" cy="681037"/>
          </a:xfrm>
        </p:spPr>
        <p:txBody>
          <a:bodyPr>
            <a:noAutofit/>
          </a:bodyPr>
          <a:lstStyle/>
          <a:p>
            <a:r>
              <a:rPr lang="ru-RU" dirty="0" smtClean="0">
                <a:solidFill>
                  <a:schemeClr val="tx1"/>
                </a:solidFill>
              </a:rPr>
              <a:t>Предложени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8820472" cy="482453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lvl="1" indent="-354013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сить максимальный размер ставки взносов;</a:t>
            </a:r>
          </a:p>
          <a:p>
            <a:pPr marL="715963" lvl="1" indent="-354013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ить зависимость максимального размера ставки взносов от возраста  на дату вступления ИПК в силу;</a:t>
            </a:r>
          </a:p>
          <a:p>
            <a:pPr marL="715963" lvl="1" indent="-354013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илить государственные гарантии на этапе накопления; </a:t>
            </a:r>
          </a:p>
          <a:p>
            <a:pPr marL="715963" lvl="1" indent="-354013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ить гарантии на этапе выплаты пенсии;</a:t>
            </a:r>
          </a:p>
          <a:p>
            <a:pPr marL="715963" lvl="1" indent="-354013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дрить регулирование, позволяющее провайдерам пенсионных услуг предлагать планы с инвестиционными гарантиями;</a:t>
            </a:r>
          </a:p>
          <a:p>
            <a:pPr lvl="1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lnSpc>
                <a:spcPct val="150000"/>
              </a:lnSpc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	</a:t>
            </a:r>
            <a:endParaRPr lang="ru-RU" sz="20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 marL="0" indent="0">
              <a:lnSpc>
                <a:spcPct val="150000"/>
              </a:lnSpc>
              <a:buFont typeface="Arial" pitchFamily="34" charset="0"/>
              <a:buNone/>
            </a:pPr>
            <a:endParaRPr lang="ru-RU" sz="2000" dirty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 lvl="1"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>
              <a:lnSpc>
                <a:spcPct val="150000"/>
              </a:lnSpc>
            </a:pPr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lnSpc>
                <a:spcPct val="150000"/>
              </a:lnSpc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25377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83568" y="1813173"/>
            <a:ext cx="7776864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28700" indent="-1028700" algn="ctr"/>
            <a:endParaRPr lang="ru-RU" sz="4800" b="1" dirty="0" smtClean="0">
              <a:solidFill>
                <a:schemeClr val="bg1"/>
              </a:solidFill>
              <a:cs typeface="Arial" pitchFamily="34" charset="0"/>
            </a:endParaRPr>
          </a:p>
          <a:p>
            <a:pPr marL="1028700" indent="-1028700" algn="ctr"/>
            <a:r>
              <a:rPr lang="ru-RU" sz="4800" b="1" dirty="0" smtClean="0">
                <a:solidFill>
                  <a:schemeClr val="bg1"/>
                </a:solidFill>
                <a:cs typeface="Arial" pitchFamily="34" charset="0"/>
              </a:rPr>
              <a:t>Сравнение НПФ и</a:t>
            </a:r>
          </a:p>
          <a:p>
            <a:pPr marL="1028700" indent="-1028700" algn="ctr"/>
            <a:r>
              <a:rPr lang="ru-RU" sz="4800" b="1" dirty="0" smtClean="0">
                <a:solidFill>
                  <a:schemeClr val="bg1"/>
                </a:solidFill>
                <a:cs typeface="Arial" pitchFamily="34" charset="0"/>
              </a:rPr>
              <a:t>страховщиков жизни</a:t>
            </a:r>
          </a:p>
          <a:p>
            <a:pPr algn="ctr"/>
            <a:endParaRPr lang="ru-RU" sz="60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8184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94472"/>
            <a:ext cx="8668544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История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9144000" cy="532859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indent="-354013"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траховые компания сразу создавались как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акционерные организации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, предоставляющие широкий спектр услуг страхования жизни и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здоровья;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ПФ создавались как некоммерческие организации. Основная цель – обслуживание корпоративных пенсионных планов;</a:t>
            </a:r>
          </a:p>
          <a:p>
            <a:pPr marL="361950" indent="0" algn="just"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Акционирование НПФ: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екоммерческая форма НПФ не рациональна;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цесс акционирования НПФ еще не завершен;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охраняется единое регулирование акционерных и некоммерческих НПФ;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37081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94193"/>
            <a:ext cx="8686800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Регулирование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9144000" cy="519788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траховщики - основано на мировом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пыте;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ПФ -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егулирование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некоммерческой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рганизации;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азличия в регулировании не обязательно означают преимущества НПФ;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ПФ до сих пор рассчитывает пенсионные обязательства по формуле;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овщики – актуарными методами уже более 20 лет;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354013"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егулирование НПФ существенно определяется историей в качестве некоммерческой организации;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774890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9144000" cy="352839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тличия не принципиальны;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е очевидно, что они всегда в пользу НПФ; 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а наш взгляд, требования к инвестициям имеет смысл проанализировать с учетом задач ИПК; 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У страховщиков требования к структуре и составу инвестиционного портфеля зависят от вида бизнеса; Установить для ИПК свои ограничения проблемы не составит;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147806"/>
            <a:ext cx="8686800" cy="858500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Требования к структуре и составу инвестиционного портфеля</a:t>
            </a:r>
            <a:endParaRPr lang="ru-RU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5719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36538"/>
            <a:ext cx="8686800" cy="681037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Отсутствие фидуциарной ответственности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9144000" cy="532859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Фидуциарная ответственность НПФ привязана к устарелому методу расчета пенсионных обязательств. Применение актуарных подходов потребует ее корректировки; 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Фидуциарная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тветственность НПФ приведет к стремлению минимизации рисков и снижению среднего уровня доходности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й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азные участники ИПК, например, участники разного возраста, могут иметь разные мнения насчет «соотношения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иска и ожидаемой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доходности»;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писать требование фидуциарной ответственности страховщиков по ИПК на этапе накопления проблемы не составит;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97814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83837"/>
            <a:ext cx="8686800" cy="432047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Ограничения </a:t>
            </a:r>
            <a:r>
              <a:rPr lang="ru-RU" sz="2400" dirty="0">
                <a:solidFill>
                  <a:schemeClr val="tx1"/>
                </a:solidFill>
              </a:rPr>
              <a:t>на размер вознаграждения</a:t>
            </a: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036772"/>
            <a:ext cx="9144000" cy="5544615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Такого рода ограничения более характерны для некоммерческих организаций, чем для акционерных; для акционерных компаний работают рыночные механизмы;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Если ограничения существенны, акционеры могут уйти, если не существенны – будет работать рынок;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Дорожная карта ОЭСР: «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егулирование стоимости может помочь предотвратить взимание чрезмерно высокой платы за услуги, но не всегда способствует ее снижению и повышению эффективности работы поставщиков услуг.  </a:t>
            </a:r>
            <a:endParaRPr lang="ru-RU" sz="2000" dirty="0" smtClean="0"/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85352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94193"/>
            <a:ext cx="8686800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Риск ориентированное регулирование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340768"/>
            <a:ext cx="9144000" cy="460851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ПФ уже внедрили стресс тестирование. Это их текущее преимущество;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овщики переходят на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olvency 2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(страховой аналог банковского регулирования)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 рамках которого стресс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тестирование – лишь один из элементов мощной системы обеспечения платежеспособности компании;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 рамках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Solvency 2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овщики будут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пределять требования к капиталу современными методами; </a:t>
            </a:r>
          </a:p>
          <a:p>
            <a:pPr marL="715963" indent="-354013" algn="just"/>
            <a:r>
              <a:rPr lang="ru-RU" sz="2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НПФы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будут продолжать дискутировать снижение нормативной ставки процента для расчета страхового резерва.</a:t>
            </a:r>
          </a:p>
          <a:p>
            <a:pPr marL="457200" lvl="1" indent="0"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0064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94193"/>
            <a:ext cx="8686800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Собственные средства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32756"/>
            <a:ext cx="9144000" cy="4392487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indent="0" algn="just"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ПФ: 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уставной капитал фонда не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енее 120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млн. руб., 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а с 1 января 2020 года - не менее 150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инимальный размер собственных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- 150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лн. руб.,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а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 1 января 2020 года -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200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уб.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indent="0" algn="just"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овщики жизни: 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апитал СК не менее 240 млн. руб., 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 1 января 2020 года – не менее 310 млн. руб.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 1 январ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2021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года – не менее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380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уб.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1 январ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2022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года – не менее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450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уб.</a:t>
            </a:r>
          </a:p>
          <a:p>
            <a:pPr marL="715963" lvl="1" indent="-354013" algn="just">
              <a:buFont typeface="Arial" panose="020B0604020202020204" pitchFamily="34" charset="0"/>
              <a:buChar char="•"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овые компании по страхованию жизни должны иметь капитал не ниже 450 млн. руб. с 2019 года.</a:t>
            </a:r>
          </a:p>
          <a:p>
            <a:pPr marL="715963" lvl="1" indent="-354013" algn="just"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80885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628800"/>
            <a:ext cx="9144000" cy="504055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 требует дальнейшего совершенствования в отношении: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очнения роли ИПК в пенсионной системе страны;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й и задач: целевые группы работников, целевые размеры пенсии, более полный учет интересов разных групп пенсионеров;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мулирования участия в ИПК;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рантирования пенсионных прав;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я доходности инвестиций;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личных вариантов пенсионных выплат;	</a:t>
            </a:r>
            <a:r>
              <a:rPr lang="ru-RU" sz="2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ru-R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Font typeface="Arial" pitchFamily="34" charset="0"/>
              <a:buNone/>
            </a:pPr>
            <a:endParaRPr lang="ru-RU" sz="20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-10896" y="212447"/>
            <a:ext cx="7796213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К - крайне своевременная и важная для стабильного функционирования пенсионной системы России инициатива</a:t>
            </a:r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8667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94193"/>
            <a:ext cx="8697144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Выгоды от участия страховщиков 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9144000" cy="482453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 точки зрения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еализации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ПК акционерные НПФ не имеют преимуществ по сравнению со Страховщиками жизни;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Участие страховщиков повысит предложение услуг и, следовательно, их качество за счет конкуренции;</a:t>
            </a:r>
          </a:p>
          <a:p>
            <a:pPr marL="715963" indent="-354013"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меют широкую линейку рисковых и накопительных продуктов, в том числе и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енсионных. Могут дополнить пенсионное страхование дополнительной защитой на случай смерти, инвалидности и т.д.;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траховщики обладают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ощными компетенциями и большим опытом в области актуарных расчетов, риск-менеджмента и управления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апиталом; </a:t>
            </a:r>
          </a:p>
          <a:p>
            <a:endParaRPr lang="ru-RU" sz="2000" dirty="0" smtClean="0"/>
          </a:p>
          <a:p>
            <a:pPr marL="0" indent="0">
              <a:buNone/>
            </a:pPr>
            <a:endParaRPr lang="ru-RU" sz="2000" dirty="0"/>
          </a:p>
          <a:p>
            <a:endParaRPr lang="ru-RU" sz="2000" dirty="0" smtClean="0"/>
          </a:p>
          <a:p>
            <a:pPr lvl="1"/>
            <a:endParaRPr lang="ru-RU" sz="2000" dirty="0" smtClean="0"/>
          </a:p>
          <a:p>
            <a:endParaRPr lang="ru-RU" sz="2000" dirty="0" smtClean="0"/>
          </a:p>
          <a:p>
            <a:endParaRPr lang="ru-RU" sz="2000" dirty="0" smtClean="0"/>
          </a:p>
          <a:p>
            <a:pPr marL="457200" lvl="1" indent="0">
              <a:buNone/>
            </a:pPr>
            <a:r>
              <a:rPr lang="ru-RU" sz="2000" dirty="0" smtClean="0"/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47269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05358"/>
            <a:ext cx="9144000" cy="634082"/>
          </a:xfrm>
        </p:spPr>
        <p:txBody>
          <a:bodyPr>
            <a:noAutofit/>
          </a:bodyPr>
          <a:lstStyle/>
          <a:p>
            <a:r>
              <a:rPr lang="ru-RU" dirty="0" smtClean="0">
                <a:solidFill>
                  <a:schemeClr val="tx1"/>
                </a:solidFill>
                <a:latin typeface="+mn-lt"/>
              </a:rPr>
              <a:t>Резюме</a:t>
            </a:r>
            <a:endParaRPr lang="ru-RU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9144000" cy="523702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точки зрения реализации ИПК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егулирование  и НПФ и СК имеет свои достоинства и недостатки;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егулирование акционерных НПФ и СК должно быть максимально унифицировано;</a:t>
            </a:r>
          </a:p>
          <a:p>
            <a:pPr marL="715963" indent="-354013"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Для участия в ИПК регулирование СК нуждается в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доработке, однако,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егулирование СК в большей мере отвечает современным требованиям, предъявляемым к акционерным финансовым компаниям, поэтому,</a:t>
            </a:r>
          </a:p>
          <a:p>
            <a:pPr marL="715963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егулирование НПФ должно быть приближено к регулированию СК; отличия должны быть обоснованы. Пример: ФСАД «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Актуарное оценивание деятельности негосударственных пенсионных фондов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». </a:t>
            </a:r>
          </a:p>
          <a:p>
            <a:pPr marL="0" indent="0">
              <a:buNone/>
            </a:pPr>
            <a:endParaRPr lang="ru-RU" sz="2000" dirty="0" smtClean="0"/>
          </a:p>
          <a:p>
            <a:pPr marL="0" indent="0">
              <a:buNone/>
            </a:pPr>
            <a:endParaRPr lang="ru-RU" sz="2000" dirty="0"/>
          </a:p>
          <a:p>
            <a:endParaRPr lang="ru-RU" sz="2000" dirty="0" smtClean="0"/>
          </a:p>
          <a:p>
            <a:pPr lvl="1"/>
            <a:endParaRPr lang="ru-RU" sz="2000" dirty="0" smtClean="0"/>
          </a:p>
          <a:p>
            <a:endParaRPr lang="ru-RU" sz="2000" dirty="0" smtClean="0"/>
          </a:p>
          <a:p>
            <a:endParaRPr lang="ru-RU" sz="2000" dirty="0" smtClean="0"/>
          </a:p>
          <a:p>
            <a:pPr marL="457200" lvl="1" indent="0">
              <a:buNone/>
            </a:pPr>
            <a:r>
              <a:rPr lang="ru-RU" sz="2000" dirty="0" smtClean="0"/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47879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683568" y="2780928"/>
            <a:ext cx="77768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28700" indent="-1028700" algn="ctr"/>
            <a:r>
              <a:rPr lang="ru-RU" sz="4800" b="1" dirty="0" smtClean="0">
                <a:solidFill>
                  <a:schemeClr val="bg1"/>
                </a:solidFill>
                <a:cs typeface="Arial" pitchFamily="34" charset="0"/>
              </a:rPr>
              <a:t>Заключение</a:t>
            </a:r>
            <a:endParaRPr lang="ru-RU" sz="60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2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" y="377804"/>
            <a:ext cx="8691527" cy="398503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Резюме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-365" y="1001186"/>
            <a:ext cx="9144000" cy="5400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lvl="0" indent="-354013" algn="just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ПК– важнейшая мера по стимулированию самостоятельного участия граждан в собственном пенсионном обеспечении; </a:t>
            </a:r>
          </a:p>
          <a:p>
            <a:pPr marL="715963" lvl="0" indent="-354013"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ПК является в определенной мере заменой обязательной накопительной части и на первом этапе частично ее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опирует;  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lvl="0" indent="-354013"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ПК требует дальнейшего совершенствования и развития, которое, однако, не должно препятствовать его скорейшему вступлению в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илу; 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lvl="0" indent="-354013" algn="just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редложения ВСС направлены на увеличение прав участников, поэтому доработка ИПК после его вступления в силу проблемы не составит. </a:t>
            </a:r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</a:pPr>
            <a:endParaRPr lang="ru-RU" sz="2000" dirty="0" smtClean="0"/>
          </a:p>
          <a:p>
            <a:pPr>
              <a:lnSpc>
                <a:spcPct val="150000"/>
              </a:lnSpc>
            </a:pPr>
            <a:endParaRPr lang="ru-RU" sz="2000" dirty="0" smtClean="0"/>
          </a:p>
          <a:p>
            <a:pPr>
              <a:lnSpc>
                <a:spcPct val="150000"/>
              </a:lnSpc>
            </a:pPr>
            <a:endParaRPr lang="ru-RU" sz="2000" dirty="0" smtClean="0"/>
          </a:p>
          <a:p>
            <a:pPr marL="457200" lvl="1" indent="0">
              <a:lnSpc>
                <a:spcPct val="150000"/>
              </a:lnSpc>
              <a:buNone/>
            </a:pPr>
            <a:r>
              <a:rPr lang="ru-RU" sz="2000" dirty="0" smtClean="0"/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46008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36538"/>
            <a:ext cx="8686800" cy="758543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Направления </a:t>
            </a:r>
            <a:r>
              <a:rPr lang="ru-RU" sz="2400" dirty="0">
                <a:solidFill>
                  <a:schemeClr val="tx1"/>
                </a:solidFill>
              </a:rPr>
              <a:t>совершенствования </a:t>
            </a:r>
            <a:r>
              <a:rPr lang="ru-RU" sz="2400" dirty="0" smtClean="0">
                <a:solidFill>
                  <a:schemeClr val="tx1"/>
                </a:solidFill>
              </a:rPr>
              <a:t/>
            </a:r>
            <a:br>
              <a:rPr lang="ru-RU" sz="2400" dirty="0" smtClean="0">
                <a:solidFill>
                  <a:schemeClr val="tx1"/>
                </a:solidFill>
              </a:rPr>
            </a:br>
            <a:r>
              <a:rPr lang="ru-RU" sz="2400" dirty="0" smtClean="0">
                <a:solidFill>
                  <a:schemeClr val="tx1"/>
                </a:solidFill>
              </a:rPr>
              <a:t>и </a:t>
            </a:r>
            <a:r>
              <a:rPr lang="ru-RU" sz="2400" dirty="0">
                <a:solidFill>
                  <a:schemeClr val="tx1"/>
                </a:solidFill>
              </a:rPr>
              <a:t>развития</a:t>
            </a: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9144000" cy="475252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Допуск страховщиков жизни к полноценному участию в ИПК после внесения необходимых изменений в законодательные и нормативные акты;</a:t>
            </a: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регулирования </a:t>
            </a:r>
            <a:r>
              <a:rPr lang="ru-RU" sz="2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акционерных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НПФ; </a:t>
            </a: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Уточнение роли и места ИПК в пенсионной системе. Учет взаимного влияния разных элементов пенсионной системы;</a:t>
            </a: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Более полный учет потребностей разных групп участников, как на этапе накопления, так и на этапе получения пенсии;</a:t>
            </a: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овершенствование стимулирования участия в ИПК;</a:t>
            </a:r>
          </a:p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оставление участникам права – в разумных пределах - выбора планов инвестирования пенсионных средств и вариантов пенсионного обеспечения.</a:t>
            </a:r>
          </a:p>
          <a:p>
            <a:pPr marL="0" indent="0">
              <a:buNone/>
            </a:pPr>
            <a:endParaRPr lang="ru-RU" sz="2000" dirty="0"/>
          </a:p>
          <a:p>
            <a:endParaRPr lang="ru-RU" sz="2000" dirty="0" smtClean="0"/>
          </a:p>
          <a:p>
            <a:pPr lvl="1"/>
            <a:endParaRPr lang="ru-RU" sz="2000" dirty="0" smtClean="0"/>
          </a:p>
          <a:p>
            <a:endParaRPr lang="ru-RU" sz="2000" dirty="0" smtClean="0"/>
          </a:p>
          <a:p>
            <a:endParaRPr lang="ru-RU" sz="2000" dirty="0" smtClean="0"/>
          </a:p>
          <a:p>
            <a:pPr marL="457200" lvl="1" indent="0">
              <a:buNone/>
            </a:pPr>
            <a:r>
              <a:rPr lang="ru-RU" sz="2000" dirty="0" smtClean="0"/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6591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31540" y="2204864"/>
            <a:ext cx="828092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28700" indent="-1028700" algn="ctr"/>
            <a:r>
              <a:rPr lang="ru-RU" sz="4800" b="1" dirty="0" smtClean="0">
                <a:solidFill>
                  <a:schemeClr val="bg1"/>
                </a:solidFill>
                <a:cs typeface="Arial" pitchFamily="34" charset="0"/>
              </a:rPr>
              <a:t>Приложение</a:t>
            </a:r>
          </a:p>
          <a:p>
            <a:pPr marL="1028700" indent="-1028700" algn="ctr"/>
            <a:r>
              <a:rPr lang="ru-RU" sz="4800" b="1" dirty="0" smtClean="0">
                <a:solidFill>
                  <a:schemeClr val="bg1"/>
                </a:solidFill>
                <a:cs typeface="Arial" pitchFamily="34" charset="0"/>
              </a:rPr>
              <a:t> Изменение законодательных</a:t>
            </a:r>
          </a:p>
          <a:p>
            <a:pPr marL="1028700" indent="-1028700" algn="ctr"/>
            <a:r>
              <a:rPr lang="ru-RU" sz="4800" b="1" dirty="0" smtClean="0">
                <a:solidFill>
                  <a:schemeClr val="bg1"/>
                </a:solidFill>
                <a:cs typeface="Arial" pitchFamily="34" charset="0"/>
              </a:rPr>
              <a:t>и нормативных актов</a:t>
            </a:r>
            <a:endParaRPr lang="ru-RU" sz="4800" b="1" dirty="0">
              <a:solidFill>
                <a:schemeClr val="bg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9893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59786"/>
            <a:ext cx="8686800" cy="542519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Условия участия </a:t>
            </a:r>
            <a:r>
              <a:rPr lang="ru-RU" sz="2400" dirty="0">
                <a:solidFill>
                  <a:schemeClr val="tx1"/>
                </a:solidFill>
              </a:rPr>
              <a:t>страховщиков жизни в </a:t>
            </a:r>
            <a:r>
              <a:rPr lang="ru-RU" sz="2400" dirty="0" smtClean="0">
                <a:solidFill>
                  <a:schemeClr val="tx1"/>
                </a:solidFill>
              </a:rPr>
              <a:t>ИПК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017604"/>
            <a:ext cx="9144000" cy="460851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лномасштабное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участие страховщиков жизни в работе с ИПК наравне с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НПФ при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обеспечении следующих условий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715963" lvl="0" indent="-354013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а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гарантирования накоплений в рамках ИПК;</a:t>
            </a:r>
          </a:p>
          <a:p>
            <a:pPr marL="715963" lvl="0" indent="-354013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Агрегированная база пенсионных счетов через Центральный Администратор;</a:t>
            </a:r>
          </a:p>
          <a:p>
            <a:pPr marL="715963" lvl="0" indent="-354013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ерсонифицированный учет пенсионных прав;</a:t>
            </a:r>
          </a:p>
          <a:p>
            <a:pPr marL="715963" lvl="0" indent="-354013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Законодательное определение тарифа, порядка уплаты и учета взносов;</a:t>
            </a:r>
          </a:p>
          <a:p>
            <a:pPr marL="715963" lvl="0" indent="-354013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Законодательное определение условий назначения и порядка расчета пенсионных выплат;</a:t>
            </a:r>
          </a:p>
          <a:p>
            <a:pPr marL="715963" lvl="0" indent="-354013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Законодательное определение требований к составу и структуре активов;</a:t>
            </a:r>
          </a:p>
          <a:p>
            <a:pPr marL="715963" lvl="0" indent="-354013"/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Законодательное определение предельного размера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ВД;</a:t>
            </a:r>
          </a:p>
          <a:p>
            <a:pPr marL="457200" lvl="1" indent="0">
              <a:buNone/>
            </a:pP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9317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 txBox="1">
            <a:spLocks/>
          </p:cNvSpPr>
          <p:nvPr/>
        </p:nvSpPr>
        <p:spPr>
          <a:xfrm>
            <a:off x="323528" y="1268761"/>
            <a:ext cx="8496944" cy="432047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u-RU" sz="2000" dirty="0" smtClean="0"/>
          </a:p>
          <a:p>
            <a:pPr marL="457200" lvl="1" indent="0">
              <a:buNone/>
            </a:pPr>
            <a:r>
              <a:rPr lang="ru-RU" sz="2000" dirty="0" smtClean="0"/>
              <a:t> </a:t>
            </a: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3031421"/>
              </p:ext>
            </p:extLst>
          </p:nvPr>
        </p:nvGraphicFramePr>
        <p:xfrm>
          <a:off x="107504" y="1052736"/>
          <a:ext cx="8928992" cy="50720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4006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5283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Основные условия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Нормативные 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  <a:effectLst/>
                        </a:rPr>
                        <a:t>акты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3592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dirty="0">
                          <a:solidFill>
                            <a:schemeClr val="tx1"/>
                          </a:solidFill>
                          <a:effectLst/>
                        </a:rPr>
                        <a:t>- Отделение средств клиентов от собственных средств Страховщика и невозможность их использования для покрытия обязательств перед третьими лицами или государством </a:t>
                      </a:r>
                      <a:endParaRPr lang="ru-RU" sz="13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Закон РФ от 27.11.1992 г. № 4015-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20229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dirty="0">
                          <a:solidFill>
                            <a:schemeClr val="tx1"/>
                          </a:solidFill>
                          <a:effectLst/>
                        </a:rPr>
                        <a:t>- Установление правил перехода от одного Страховщика к другому или в НПФ</a:t>
                      </a:r>
                      <a:endParaRPr lang="ru-RU" sz="13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Закон РФ от 27.11.1992 г. № 4015-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1339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ФЗ от 07.05.198 г. № 75-ФЗ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262602">
                <a:tc row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dirty="0">
                          <a:solidFill>
                            <a:schemeClr val="tx1"/>
                          </a:solidFill>
                          <a:effectLst/>
                        </a:rPr>
                        <a:t>- Установление обязанности и правил начисления инвестиционного дохода по каждому пенсионному договору</a:t>
                      </a:r>
                      <a:endParaRPr lang="ru-RU" sz="13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Закон РФ от 27.11.1992 г. № 4015-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22022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Указание от 16.11.2016 № 557-П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44045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dirty="0">
                          <a:solidFill>
                            <a:schemeClr val="tx1"/>
                          </a:solidFill>
                          <a:effectLst/>
                        </a:rPr>
                        <a:t>- Представление спец депозитарию права не признать сделку, если она не предусмотрена инвестиционной декларацией или ущемляет интересы клиентов </a:t>
                      </a:r>
                      <a:endParaRPr lang="ru-RU" sz="13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Закон РФ от 27.11.1992 г. № 4015-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2679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>
                          <a:solidFill>
                            <a:schemeClr val="tx1"/>
                          </a:solidFill>
                          <a:effectLst/>
                        </a:rPr>
                        <a:t>- Включение в систему гарантирования прав застрахованных лиц </a:t>
                      </a:r>
                      <a:endParaRPr lang="ru-RU" sz="13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ФЗ от 28.12.13 г. № 422-ФЗ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26796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>
                          <a:solidFill>
                            <a:schemeClr val="tx1"/>
                          </a:solidFill>
                          <a:effectLst/>
                        </a:rPr>
                        <a:t>- Установление правил (ограничений) по выплате вознаграждения посредникам </a:t>
                      </a:r>
                      <a:endParaRPr lang="ru-RU" sz="13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Закон РФ от 27.11.1992 г. № 4015-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38979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dirty="0">
                          <a:solidFill>
                            <a:schemeClr val="tx1"/>
                          </a:solidFill>
                          <a:effectLst/>
                        </a:rPr>
                        <a:t>- Изменения порядка определения страховой суммы (возможность изменения без подписания дополнительных соглашений) по договору  </a:t>
                      </a:r>
                      <a:endParaRPr lang="ru-RU" sz="13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Закон РФ от 27.11.1992 г. № 4015-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55057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>
                          <a:solidFill>
                            <a:schemeClr val="tx1"/>
                          </a:solidFill>
                          <a:effectLst/>
                        </a:rPr>
                        <a:t>- Выравнивание по налогообложению в части: взносов в социальные фонды, отнесение на расходы на оплату труда и НДФЛ по суммам пенсионных взносов работодателей в пользу физического лица.  </a:t>
                      </a:r>
                      <a:endParaRPr lang="ru-RU" sz="13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НК РФ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20229">
                <a:tc row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>
                          <a:solidFill>
                            <a:schemeClr val="tx1"/>
                          </a:solidFill>
                          <a:effectLst/>
                        </a:rPr>
                        <a:t>- Установление порядка перевода накоплений по ОПС в систему ИПК</a:t>
                      </a:r>
                      <a:endParaRPr lang="ru-RU" sz="13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Закон РФ от 27.11.1992 г. № 4015-1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1339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- ФЗ  от 28.12.13 г. № 424-ФЗ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1339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- ФЗ от 30.04.08 г. № 56-ФЗ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  <a:tr h="27332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b="0" dirty="0">
                          <a:solidFill>
                            <a:schemeClr val="tx1"/>
                          </a:solidFill>
                          <a:effectLst/>
                        </a:rPr>
                        <a:t>- Требования к составу и структуре активов по ИПК</a:t>
                      </a:r>
                      <a:endParaRPr lang="ru-RU" sz="13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300" dirty="0">
                          <a:solidFill>
                            <a:schemeClr val="tx1"/>
                          </a:solidFill>
                          <a:effectLst/>
                        </a:rPr>
                        <a:t>Указание Банка России от 22.02.2017 № 4297-У</a:t>
                      </a:r>
                      <a:endParaRPr lang="ru-RU" sz="13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38586" marR="38586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4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66631"/>
            <a:ext cx="8686800" cy="470511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Изменения в </a:t>
            </a:r>
            <a:r>
              <a:rPr lang="ru-RU" sz="2400" dirty="0">
                <a:solidFill>
                  <a:schemeClr val="tx1"/>
                </a:solidFill>
              </a:rPr>
              <a:t>законодательных и нормативных </a:t>
            </a:r>
            <a:r>
              <a:rPr lang="ru-RU" sz="2400" dirty="0" smtClean="0">
                <a:solidFill>
                  <a:schemeClr val="tx1"/>
                </a:solidFill>
              </a:rPr>
              <a:t>документах</a:t>
            </a:r>
            <a:endParaRPr lang="ru-RU" sz="2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8058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60015"/>
            <a:ext cx="7796213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Взгляд на ИПК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-6269" y="984532"/>
            <a:ext cx="9144000" cy="5900851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1688" indent="-439738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то хотим достигнуть?</a:t>
            </a:r>
          </a:p>
          <a:p>
            <a:pPr marL="801688" indent="-439738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влияние ИПК и пенсионной системы? </a:t>
            </a:r>
          </a:p>
          <a:p>
            <a:pPr marL="801688" indent="-439738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Дорожная карта ОЭСР: «Пенсионный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план с установленными взносами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является частью пенсионной системы страны и не может рассматриваться в отрыве от других ее элементов». </a:t>
            </a:r>
          </a:p>
          <a:p>
            <a:pPr marL="801688" indent="-439738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кого (целевые группы)? </a:t>
            </a:r>
          </a:p>
          <a:p>
            <a:pPr marL="801688" indent="-439738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итерии эффективности, в том числе количественные</a:t>
            </a:r>
          </a:p>
          <a:p>
            <a:pPr marL="801688" indent="-439738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счет чего они будут выполнены?</a:t>
            </a:r>
          </a:p>
          <a:p>
            <a:pPr marL="801688" indent="-439738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лияние на бюджет:</a:t>
            </a:r>
          </a:p>
          <a:p>
            <a:pPr marL="801688" lvl="1" indent="-439738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адение налогов, но</a:t>
            </a:r>
          </a:p>
          <a:p>
            <a:pPr marL="801688" lvl="1" indent="-439738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расходов на доплаты до минимальной пенсии и региональные надбавки.</a:t>
            </a:r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9724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-11899" y="404664"/>
            <a:ext cx="7678863" cy="864096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Низкий целевой размер пенсии. </a:t>
            </a:r>
            <a:br>
              <a:rPr lang="ru-RU" sz="2400" dirty="0" smtClean="0">
                <a:solidFill>
                  <a:schemeClr val="tx1"/>
                </a:solidFill>
              </a:rPr>
            </a:br>
            <a:r>
              <a:rPr lang="ru-RU" sz="2400" dirty="0" smtClean="0">
                <a:solidFill>
                  <a:prstClr val="black"/>
                </a:solidFill>
              </a:rPr>
              <a:t>Ожидаемый </a:t>
            </a:r>
            <a:r>
              <a:rPr lang="ru-RU" sz="2400" dirty="0">
                <a:solidFill>
                  <a:prstClr val="black"/>
                </a:solidFill>
              </a:rPr>
              <a:t>размер пенсии при 40-летнем участии в ИПК 10-12% (=6%  × 40 /20 = 12</a:t>
            </a:r>
            <a:r>
              <a:rPr lang="ru-RU" sz="2400" dirty="0" smtClean="0">
                <a:solidFill>
                  <a:prstClr val="black"/>
                </a:solidFill>
              </a:rPr>
              <a:t>%)</a:t>
            </a:r>
            <a:r>
              <a:rPr lang="ru-RU" sz="2400" dirty="0">
                <a:solidFill>
                  <a:prstClr val="black"/>
                </a:solidFill>
              </a:rPr>
              <a:t/>
            </a:r>
            <a:br>
              <a:rPr lang="ru-RU" sz="2400" dirty="0">
                <a:solidFill>
                  <a:prstClr val="black"/>
                </a:solidFill>
              </a:rPr>
            </a:b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14068" y="1484784"/>
            <a:ext cx="9144000" cy="4896543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indent="-354013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вый этап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разработки дизайна накопительного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дукта -  установление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целевого размера пенсионного обеспечения, дополняющего пособия других элементов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истемы. (Дорожная карта ОЭСР: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ECD Pensions Outlook 2012, OECD Publishing, 234 p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354013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эффициент замещения в Москве: 18%. С учетом московской надбавки – чуть выше, около 20%;</a:t>
            </a:r>
          </a:p>
          <a:p>
            <a:pPr marL="715963" indent="-354013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яя назначенная пенсия в Москве: 14500 руб.; минимальная – с учетом надбавки – 17 500 руб.</a:t>
            </a:r>
          </a:p>
          <a:p>
            <a:endParaRPr lang="ru-RU" sz="2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3266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94193"/>
            <a:ext cx="8686800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Узкая целевая аудитория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980728"/>
            <a:ext cx="9144000" cy="5544616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5963" lvl="1" indent="-354013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ооплачиваемым группам населения </a:t>
            </a: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таточно доплаты до минимального размера пенсии и региональной 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бавки; </a:t>
            </a:r>
            <a:endParaRPr lang="ru-RU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lvl="1" indent="-354013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е </a:t>
            </a: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высоко оплачиваемые. Коэффициент замещения низкий или очень низкий. 12% для них будет недостаточно.</a:t>
            </a:r>
            <a:endParaRPr lang="ru-RU" sz="24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15963" indent="-354013"/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интересованность в зависимости от срока до пенсии: чем ближе, тем меньше можно накопить. Если пенсия (относительно) близка – ИПК не поможет;</a:t>
            </a:r>
          </a:p>
          <a:p>
            <a:pPr marL="0" indent="0">
              <a:buNone/>
            </a:pPr>
            <a:endParaRPr lang="ru-RU" sz="2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ru-RU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8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77512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00116"/>
            <a:ext cx="7796213" cy="830551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Стимулирование и гарантии уступают действующим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124744"/>
            <a:ext cx="9144000" cy="5040559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/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К - гарантия номинального размера взносов;</a:t>
            </a:r>
          </a:p>
          <a:p>
            <a:pPr marL="285750" indent="-285750"/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вский депозит - гарантия взносов и процентов;</a:t>
            </a:r>
          </a:p>
          <a:p>
            <a:pPr marL="285750" indent="-285750"/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этапе выплаты пенсии гарантии </a:t>
            </a:r>
            <a:r>
              <a:rPr lang="ru-RU" sz="24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уют;</a:t>
            </a:r>
            <a:endParaRPr lang="ru-RU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  <a:p>
            <a:pPr marL="457200" lvl="1" indent="0">
              <a:buFont typeface="Arial" pitchFamily="34" charset="0"/>
              <a:buNone/>
            </a:pPr>
            <a:r>
              <a:rPr lang="ru-RU" sz="1600" dirty="0" smtClean="0">
                <a:solidFill>
                  <a:prstClr val="black"/>
                </a:solidFill>
              </a:rPr>
              <a:t>	</a:t>
            </a:r>
            <a:endParaRPr lang="ru-RU" sz="1600" dirty="0">
              <a:solidFill>
                <a:prstClr val="black"/>
              </a:solidFill>
            </a:endParaRPr>
          </a:p>
          <a:p>
            <a:endParaRPr lang="ru-RU" sz="2400" dirty="0" smtClean="0">
              <a:solidFill>
                <a:prstClr val="black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ru-RU" sz="2400" dirty="0">
              <a:solidFill>
                <a:prstClr val="black"/>
              </a:solidFill>
            </a:endParaRPr>
          </a:p>
          <a:p>
            <a:endParaRPr lang="ru-RU" sz="2400" dirty="0" smtClean="0">
              <a:solidFill>
                <a:prstClr val="black"/>
              </a:solidFill>
            </a:endParaRPr>
          </a:p>
          <a:p>
            <a:pPr lvl="1"/>
            <a:endParaRPr lang="ru-RU" sz="2000" dirty="0" smtClean="0">
              <a:solidFill>
                <a:prstClr val="black"/>
              </a:solidFill>
            </a:endParaRPr>
          </a:p>
          <a:p>
            <a:endParaRPr lang="ru-RU" sz="24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7080891"/>
              </p:ext>
            </p:extLst>
          </p:nvPr>
        </p:nvGraphicFramePr>
        <p:xfrm>
          <a:off x="143507" y="3284984"/>
          <a:ext cx="8856985" cy="25218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50346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208398">
                  <a:extLst>
                    <a:ext uri="{9D8B030D-6E8A-4147-A177-3AD203B41FA5}">
                      <a16:colId xmlns:a16="http://schemas.microsoft.com/office/drawing/2014/main" xmlns="" val="2236137124"/>
                    </a:ext>
                  </a:extLst>
                </a:gridCol>
                <a:gridCol w="4498241">
                  <a:extLst>
                    <a:ext uri="{9D8B030D-6E8A-4147-A177-3AD203B41FA5}">
                      <a16:colId xmlns:a16="http://schemas.microsoft.com/office/drawing/2014/main" xmlns="" val="2432492740"/>
                    </a:ext>
                  </a:extLst>
                </a:gridCol>
              </a:tblGrid>
              <a:tr h="24344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н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ьготы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ый взнос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7732"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носы физических лиц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3046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К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ый налоговый вычет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6% зарплаты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407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ПФ и СК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ый налоговый вычет 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120 тыс. руб., т.е. до 22% средней зарплаты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199392"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носы юридических лиц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91049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ПФ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вобождение от уплаты </a:t>
                      </a: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носов 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 внебюджетные фонды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зносы, </a:t>
                      </a: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выше 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 </a:t>
                      </a: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ФОТ, </a:t>
                      </a:r>
                      <a:r>
                        <a:rPr lang="ru-RU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лагаются налогом на </a:t>
                      </a:r>
                      <a:r>
                        <a:rPr lang="ru-RU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быль</a:t>
                      </a:r>
                      <a:endParaRPr lang="ru-RU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5926" marR="65926" marT="9156" marB="0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2357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305358"/>
            <a:ext cx="8460432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Скудное пенсионное меню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710100"/>
            <a:ext cx="9144000" cy="4527212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ребности людей зависят от: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личия иждивенцев; 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коплений; 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щных условий;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тояния здоровья (инвалиды).  Обязательная накопительная пенсия предусматривает </a:t>
            </a: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у 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нсии </a:t>
            </a: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 достижении пенсионного возраста 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предположении, что инвалиды живут столько же, сколько здоровые;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срочный – льготники - выход на пенсию;</a:t>
            </a:r>
          </a:p>
          <a:p>
            <a:pPr lvl="1" indent="-381000">
              <a:buFont typeface="Arial" panose="020B0604020202020204" pitchFamily="34" charset="0"/>
              <a:buChar char="•"/>
            </a:pP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ндерное супер </a:t>
            </a:r>
            <a:r>
              <a:rPr lang="ru-RU" sz="2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венство: приравнивание 60-летних мужчин к 55-летним женщинам</a:t>
            </a:r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?!</a:t>
            </a:r>
          </a:p>
          <a:p>
            <a:pPr lvl="1"/>
            <a:endParaRPr lang="ru-RU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	</a:t>
            </a:r>
            <a:endParaRPr lang="ru-RU" sz="2000" dirty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ru-RU" sz="2000" dirty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lvl="1"/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0" y="879103"/>
            <a:ext cx="91440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ню ИПК: (1) единовременная выплата, (2) срочная (от пяти лет) и (3) пожизненная пенсия.</a:t>
            </a:r>
          </a:p>
        </p:txBody>
      </p:sp>
    </p:spTree>
    <p:extLst>
      <p:ext uri="{BB962C8B-B14F-4D97-AF65-F5344CB8AC3E}">
        <p14:creationId xmlns:p14="http://schemas.microsoft.com/office/powerpoint/2010/main" val="1702264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969" y="259405"/>
            <a:ext cx="7777243" cy="721323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prstClr val="black"/>
                </a:solidFill>
              </a:rPr>
              <a:t>Популярность </a:t>
            </a:r>
            <a:r>
              <a:rPr lang="ru-RU" sz="2400" dirty="0">
                <a:solidFill>
                  <a:prstClr val="black"/>
                </a:solidFill>
              </a:rPr>
              <a:t>ИПК будет зависеть от пенсионного </a:t>
            </a:r>
            <a:r>
              <a:rPr lang="ru-RU" sz="2400" dirty="0" smtClean="0">
                <a:solidFill>
                  <a:prstClr val="black"/>
                </a:solidFill>
              </a:rPr>
              <a:t>меню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-14270" y="1124744"/>
            <a:ext cx="9144000" cy="5256584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диновременная выплата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части накоплений: погашение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кредита,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крупные покупки, лечение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жизненная пенсия;</a:t>
            </a:r>
          </a:p>
          <a:p>
            <a:pPr lvl="0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ожизненная пенсия с периодом гарантированной выплаты;</a:t>
            </a:r>
          </a:p>
          <a:p>
            <a:pPr lvl="0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овместная пенсия супругов;</a:t>
            </a:r>
          </a:p>
          <a:p>
            <a:pPr lvl="0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тложенная пенсия – начало выплаты через несколько лет после выхода на пенсию;</a:t>
            </a:r>
          </a:p>
          <a:p>
            <a:pPr lvl="0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азличные варианты защиты от инфляции:</a:t>
            </a:r>
          </a:p>
          <a:p>
            <a:pPr lvl="1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Участие в прибыли провайдера;</a:t>
            </a:r>
          </a:p>
          <a:p>
            <a:pPr lvl="1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ндексация, например по инфляции;</a:t>
            </a:r>
          </a:p>
          <a:p>
            <a:pPr lvl="1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еременный аннуитет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(variable annuity)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  <a:endParaRPr lang="en-GB" sz="2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lvl="1"/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0173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260015"/>
            <a:ext cx="9144000" cy="634082"/>
          </a:xfrm>
        </p:spPr>
        <p:txBody>
          <a:bodyPr>
            <a:noAutofit/>
          </a:bodyPr>
          <a:lstStyle/>
          <a:p>
            <a:r>
              <a:rPr lang="ru-RU" sz="2400" dirty="0" smtClean="0">
                <a:solidFill>
                  <a:schemeClr val="tx1"/>
                </a:solidFill>
              </a:rPr>
              <a:t>Доходность инвестиций - </a:t>
            </a:r>
            <a:r>
              <a:rPr lang="ru-RU" sz="2400" dirty="0" smtClean="0">
                <a:solidFill>
                  <a:prstClr val="black"/>
                </a:solidFill>
              </a:rPr>
              <a:t>ключевой </a:t>
            </a:r>
            <a:r>
              <a:rPr lang="ru-RU" sz="2400" dirty="0">
                <a:solidFill>
                  <a:prstClr val="black"/>
                </a:solidFill>
              </a:rPr>
              <a:t>вопрос, не рассмотренный в </a:t>
            </a:r>
            <a:r>
              <a:rPr lang="ru-RU" sz="2400" dirty="0" smtClean="0">
                <a:solidFill>
                  <a:prstClr val="black"/>
                </a:solidFill>
              </a:rPr>
              <a:t>ИПК</a:t>
            </a:r>
            <a:endParaRPr lang="ru-RU" sz="2400" dirty="0">
              <a:solidFill>
                <a:schemeClr val="tx1"/>
              </a:solidFill>
            </a:endParaRPr>
          </a:p>
        </p:txBody>
      </p:sp>
      <p:sp>
        <p:nvSpPr>
          <p:cNvPr id="3" name="Содержимое 2"/>
          <p:cNvSpPr txBox="1">
            <a:spLocks/>
          </p:cNvSpPr>
          <p:nvPr/>
        </p:nvSpPr>
        <p:spPr>
          <a:xfrm>
            <a:off x="0" y="1268760"/>
            <a:ext cx="9144000" cy="5237028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ая доходность планов с установленными взносами – общая проблема;</a:t>
            </a:r>
          </a:p>
          <a:p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ные группы работников по разному относятся к риску;</a:t>
            </a:r>
          </a:p>
          <a:p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ее важным фактором является возраст участника: чем дальше до пенсии, тем выше готовность рисковать (теория жизненного цикла);</a:t>
            </a:r>
          </a:p>
          <a:p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ужно обеспечить возможность индивидуального выбора инвестиционного портфеля;</a:t>
            </a:r>
          </a:p>
          <a:p>
            <a:r>
              <a:rPr lang="ru-RU" sz="24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граничения на инвестирование и фидуциарная ответственность могут резко снизить доходность инвестирования и индивидуальный выбор;</a:t>
            </a: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	</a:t>
            </a:r>
            <a:endParaRPr lang="ru-RU" sz="2000" dirty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marL="0" indent="0">
              <a:buFont typeface="Arial" pitchFamily="34" charset="0"/>
              <a:buNone/>
            </a:pPr>
            <a:endParaRPr lang="ru-RU" sz="2000" dirty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lvl="1"/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endParaRPr lang="ru-RU" sz="2000" dirty="0" smtClean="0">
              <a:solidFill>
                <a:prstClr val="black"/>
              </a:solidFill>
            </a:endParaRPr>
          </a:p>
          <a:p>
            <a:pPr marL="457200" lvl="1" indent="0">
              <a:buFont typeface="Arial" pitchFamily="34" charset="0"/>
              <a:buNone/>
            </a:pPr>
            <a:r>
              <a:rPr lang="ru-RU" sz="2000" dirty="0" smtClean="0">
                <a:solidFill>
                  <a:prstClr val="black"/>
                </a:solidFill>
              </a:rPr>
              <a:t>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8028384" y="294193"/>
            <a:ext cx="936104" cy="39850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" name="Picture 2" descr="\\WBYSTROVA\Docs\Design\обмен\инструмент анализа рисков\всс лого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6213" y="236538"/>
            <a:ext cx="1050925" cy="681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110549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U6QkdN_U.lyZ_Th92a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3wNMmAV0ie.oQt1ALM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2ecR2ZdpUOMQ2ocE2H3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51</TotalTime>
  <Words>1909</Words>
  <Application>Microsoft Office PowerPoint</Application>
  <PresentationFormat>Экран (4:3)</PresentationFormat>
  <Paragraphs>323</Paragraphs>
  <Slides>27</Slides>
  <Notes>27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7</vt:i4>
      </vt:variant>
    </vt:vector>
  </HeadingPairs>
  <TitlesOfParts>
    <vt:vector size="29" baseType="lpstr">
      <vt:lpstr>Тема Office</vt:lpstr>
      <vt:lpstr>Специальное оформление</vt:lpstr>
      <vt:lpstr>Презентация PowerPoint</vt:lpstr>
      <vt:lpstr>Презентация PowerPoint</vt:lpstr>
      <vt:lpstr>Взгляд на ИПК</vt:lpstr>
      <vt:lpstr>Низкий целевой размер пенсии.  Ожидаемый размер пенсии при 40-летнем участии в ИПК 10-12% (=6%  × 40 /20 = 12%) </vt:lpstr>
      <vt:lpstr>Узкая целевая аудитория</vt:lpstr>
      <vt:lpstr>Стимулирование и гарантии уступают действующим</vt:lpstr>
      <vt:lpstr>Скудное пенсионное меню</vt:lpstr>
      <vt:lpstr>Популярность ИПК будет зависеть от пенсионного меню</vt:lpstr>
      <vt:lpstr>Доходность инвестиций - ключевой вопрос, не рассмотренный в ИПК</vt:lpstr>
      <vt:lpstr>Узкий круг провайдеров</vt:lpstr>
      <vt:lpstr>Предложения</vt:lpstr>
      <vt:lpstr>Презентация PowerPoint</vt:lpstr>
      <vt:lpstr>История</vt:lpstr>
      <vt:lpstr>Регулирование</vt:lpstr>
      <vt:lpstr>Требования к структуре и составу инвестиционного портфеля</vt:lpstr>
      <vt:lpstr>Отсутствие фидуциарной ответственности</vt:lpstr>
      <vt:lpstr>Ограничения на размер вознаграждения</vt:lpstr>
      <vt:lpstr>Риск ориентированное регулирование</vt:lpstr>
      <vt:lpstr>Собственные средства</vt:lpstr>
      <vt:lpstr>Выгоды от участия страховщиков </vt:lpstr>
      <vt:lpstr>Резюме</vt:lpstr>
      <vt:lpstr>Презентация PowerPoint</vt:lpstr>
      <vt:lpstr>Резюме</vt:lpstr>
      <vt:lpstr>Направления совершенствования  и развития</vt:lpstr>
      <vt:lpstr>Презентация PowerPoint</vt:lpstr>
      <vt:lpstr>Условия участия страховщиков жизни в ИПК</vt:lpstr>
      <vt:lpstr>Изменения в законодательных и нормативных документах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Маленик Анастасия Геннадьевна</cp:lastModifiedBy>
  <cp:revision>184</cp:revision>
  <cp:lastPrinted>2018-10-16T07:13:15Z</cp:lastPrinted>
  <dcterms:created xsi:type="dcterms:W3CDTF">2013-02-06T12:22:35Z</dcterms:created>
  <dcterms:modified xsi:type="dcterms:W3CDTF">2018-12-06T15:15:12Z</dcterms:modified>
</cp:coreProperties>
</file>